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Default Extension="xlsx" ContentType="application/vnd.openxmlformats-officedocument.spreadsheetml.sheet"/>
  <Override PartName="/ppt/charts/chart3.xml" ContentType="application/vnd.openxmlformats-officedocument.drawingml.char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Override PartName="/ppt/slides/slide57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s/slide53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.xml" ContentType="application/vnd.openxmlformats-officedocument.presentationml.tags+xml"/>
  <Default Extension="emf" ContentType="image/x-emf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handoutMasters/handoutMaster1.xml" ContentType="application/vnd.openxmlformats-officedocument.presentationml.handoutMaster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64"/>
  </p:notesMasterIdLst>
  <p:handoutMasterIdLst>
    <p:handoutMasterId r:id="rId65"/>
  </p:handoutMasterIdLst>
  <p:sldIdLst>
    <p:sldId id="260" r:id="rId2"/>
    <p:sldId id="261" r:id="rId3"/>
    <p:sldId id="263" r:id="rId4"/>
    <p:sldId id="264" r:id="rId5"/>
    <p:sldId id="284" r:id="rId6"/>
    <p:sldId id="285" r:id="rId7"/>
    <p:sldId id="286" r:id="rId8"/>
    <p:sldId id="287" r:id="rId9"/>
    <p:sldId id="288" r:id="rId10"/>
    <p:sldId id="289" r:id="rId11"/>
    <p:sldId id="290" r:id="rId12"/>
    <p:sldId id="291" r:id="rId13"/>
    <p:sldId id="292" r:id="rId14"/>
    <p:sldId id="293" r:id="rId15"/>
    <p:sldId id="294" r:id="rId16"/>
    <p:sldId id="295" r:id="rId17"/>
    <p:sldId id="296" r:id="rId18"/>
    <p:sldId id="297" r:id="rId19"/>
    <p:sldId id="298" r:id="rId20"/>
    <p:sldId id="299" r:id="rId21"/>
    <p:sldId id="300" r:id="rId22"/>
    <p:sldId id="301" r:id="rId23"/>
    <p:sldId id="302" r:id="rId24"/>
    <p:sldId id="303" r:id="rId25"/>
    <p:sldId id="304" r:id="rId26"/>
    <p:sldId id="305" r:id="rId27"/>
    <p:sldId id="306" r:id="rId28"/>
    <p:sldId id="307" r:id="rId29"/>
    <p:sldId id="308" r:id="rId30"/>
    <p:sldId id="309" r:id="rId31"/>
    <p:sldId id="310" r:id="rId32"/>
    <p:sldId id="311" r:id="rId33"/>
    <p:sldId id="312" r:id="rId34"/>
    <p:sldId id="313" r:id="rId35"/>
    <p:sldId id="314" r:id="rId36"/>
    <p:sldId id="315" r:id="rId37"/>
    <p:sldId id="316" r:id="rId38"/>
    <p:sldId id="317" r:id="rId39"/>
    <p:sldId id="318" r:id="rId40"/>
    <p:sldId id="320" r:id="rId41"/>
    <p:sldId id="321" r:id="rId42"/>
    <p:sldId id="322" r:id="rId43"/>
    <p:sldId id="319" r:id="rId44"/>
    <p:sldId id="323" r:id="rId45"/>
    <p:sldId id="324" r:id="rId46"/>
    <p:sldId id="325" r:id="rId47"/>
    <p:sldId id="326" r:id="rId48"/>
    <p:sldId id="327" r:id="rId49"/>
    <p:sldId id="328" r:id="rId50"/>
    <p:sldId id="329" r:id="rId51"/>
    <p:sldId id="265" r:id="rId52"/>
    <p:sldId id="266" r:id="rId53"/>
    <p:sldId id="267" r:id="rId54"/>
    <p:sldId id="268" r:id="rId55"/>
    <p:sldId id="269" r:id="rId56"/>
    <p:sldId id="330" r:id="rId57"/>
    <p:sldId id="274" r:id="rId58"/>
    <p:sldId id="275" r:id="rId59"/>
    <p:sldId id="276" r:id="rId60"/>
    <p:sldId id="277" r:id="rId61"/>
    <p:sldId id="281" r:id="rId62"/>
    <p:sldId id="279" r:id="rId63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CAB"/>
    <a:srgbClr val="ED106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08"/>
    <p:restoredTop sz="96661" autoAdjust="0"/>
  </p:normalViewPr>
  <p:slideViewPr>
    <p:cSldViewPr showGuides="1">
      <p:cViewPr varScale="1">
        <p:scale>
          <a:sx n="67" d="100"/>
          <a:sy n="67" d="100"/>
        </p:scale>
        <p:origin x="-1380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101" d="100"/>
          <a:sy n="101" d="100"/>
        </p:scale>
        <p:origin x="-2532" y="-108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notesMaster" Target="notesMasters/notesMaster1.xml"/><Relationship Id="rId69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/>
    <c:plotArea>
      <c:layout/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2FB-422C-A9E1-1EC715AAEC7D}"/>
            </c:ext>
          </c:extLst>
        </c:ser>
        <c:gapWidth val="100"/>
        <c:overlap val="100"/>
        <c:axId val="57963648"/>
        <c:axId val="57965184"/>
      </c:barChart>
      <c:catAx>
        <c:axId val="57963648"/>
        <c:scaling>
          <c:orientation val="minMax"/>
        </c:scaling>
        <c:axPos val="b"/>
        <c:numFmt formatCode="General" sourceLinked="0"/>
        <c:tickLblPos val="nextTo"/>
        <c:crossAx val="57965184"/>
        <c:crosses val="autoZero"/>
        <c:auto val="1"/>
        <c:lblAlgn val="ctr"/>
        <c:lblOffset val="100"/>
      </c:catAx>
      <c:valAx>
        <c:axId val="57965184"/>
        <c:scaling>
          <c:orientation val="minMax"/>
        </c:scaling>
        <c:axPos val="l"/>
        <c:majorGridlines/>
        <c:numFmt formatCode="General" sourceLinked="1"/>
        <c:tickLblPos val="nextTo"/>
        <c:crossAx val="57963648"/>
        <c:crosses val="autoZero"/>
        <c:crossBetween val="between"/>
      </c:valAx>
    </c:plotArea>
    <c:legend>
      <c:legendPos val="r"/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/>
    <c:plotArea>
      <c:layout/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746-4EFB-ADF6-9E1096A1283E}"/>
            </c:ext>
          </c:extLst>
        </c:ser>
        <c:gapWidth val="100"/>
        <c:overlap val="100"/>
        <c:axId val="58968704"/>
        <c:axId val="58970496"/>
      </c:barChart>
      <c:catAx>
        <c:axId val="58968704"/>
        <c:scaling>
          <c:orientation val="minMax"/>
        </c:scaling>
        <c:axPos val="b"/>
        <c:numFmt formatCode="General" sourceLinked="0"/>
        <c:tickLblPos val="nextTo"/>
        <c:crossAx val="58970496"/>
        <c:crosses val="autoZero"/>
        <c:auto val="1"/>
        <c:lblAlgn val="ctr"/>
        <c:lblOffset val="100"/>
      </c:catAx>
      <c:valAx>
        <c:axId val="58970496"/>
        <c:scaling>
          <c:orientation val="minMax"/>
        </c:scaling>
        <c:axPos val="l"/>
        <c:majorGridlines/>
        <c:numFmt formatCode="General" sourceLinked="1"/>
        <c:tickLblPos val="nextTo"/>
        <c:crossAx val="58968704"/>
        <c:crosses val="autoZero"/>
        <c:crossBetween val="between"/>
      </c:valAx>
    </c:plotArea>
    <c:legend>
      <c:legendPos val="r"/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/>
          <a:lstStyle/>
          <a:p>
            <a:pPr>
              <a:defRPr/>
            </a:pPr>
            <a:r>
              <a:rPr lang="ru-RU" dirty="0"/>
              <a:t>Зависимость расстояния от времени</a:t>
            </a:r>
            <a:endParaRPr lang="en-US" dirty="0"/>
          </a:p>
        </c:rich>
      </c:tx>
      <c:layout/>
    </c:title>
    <c:plotArea>
      <c:layout>
        <c:manualLayout>
          <c:layoutTarget val="inner"/>
          <c:xMode val="edge"/>
          <c:yMode val="edge"/>
          <c:x val="7.0124671916010503E-2"/>
          <c:y val="0.13848478213365864"/>
          <c:w val="0.84325495771361914"/>
          <c:h val="0.71651116016635574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l</c:v>
                </c:pt>
              </c:strCache>
            </c:strRef>
          </c:tx>
          <c:cat>
            <c:numRef>
              <c:f>Лист1!$A$2:$A$5</c:f>
              <c:numCache>
                <c:formatCode>General</c:formatCode>
                <c:ptCount val="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C0E-4DEE-AA1D-64327DAB7A47}"/>
            </c:ext>
          </c:extLst>
        </c:ser>
        <c:marker val="1"/>
        <c:axId val="71843840"/>
        <c:axId val="71845376"/>
      </c:lineChart>
      <c:catAx>
        <c:axId val="71843840"/>
        <c:scaling>
          <c:orientation val="minMax"/>
        </c:scaling>
        <c:axPos val="b"/>
        <c:numFmt formatCode="General" sourceLinked="1"/>
        <c:tickLblPos val="nextTo"/>
        <c:crossAx val="71845376"/>
        <c:crosses val="autoZero"/>
        <c:auto val="1"/>
        <c:lblAlgn val="ctr"/>
        <c:lblOffset val="100"/>
      </c:catAx>
      <c:valAx>
        <c:axId val="71845376"/>
        <c:scaling>
          <c:orientation val="minMax"/>
        </c:scaling>
        <c:axPos val="l"/>
        <c:majorGridlines/>
        <c:numFmt formatCode="General" sourceLinked="1"/>
        <c:tickLblPos val="nextTo"/>
        <c:crossAx val="71843840"/>
        <c:crosses val="autoZero"/>
        <c:crossBetween val="between"/>
      </c:valAx>
    </c:plotArea>
    <c:legend>
      <c:legendPos val="r"/>
      <c:layout/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w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5875</cdr:x>
      <cdr:y>0.70636</cdr:y>
    </cdr:from>
    <cdr:to>
      <cdr:x>0.185</cdr:x>
      <cdr:y>0.73818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1306488" y="3196952"/>
          <a:ext cx="216024" cy="144016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A8911F-C8B4-4DD2-B18D-F3882A0788BB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6C1A6E-6B58-407B-B8B9-3ADF7A6157AF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0925A0-E84E-4736-9A0A-DFDC8FE12993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A111F4-4D46-4212-B928-60622AD3EA26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A111F4-4D46-4212-B928-60622AD3EA26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6966435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1142984"/>
            <a:ext cx="5643602" cy="1345612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3714752"/>
            <a:ext cx="82296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7" name="Диаграмма 6"/>
          <p:cNvGraphicFramePr/>
          <p:nvPr userDrawn="1"/>
        </p:nvGraphicFramePr>
        <p:xfrm>
          <a:off x="500034" y="1643050"/>
          <a:ext cx="3786214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/>
          <p:cNvGraphicFramePr/>
          <p:nvPr userDrawn="1"/>
        </p:nvGraphicFramePr>
        <p:xfrm>
          <a:off x="4786314" y="1643050"/>
          <a:ext cx="3786214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4"/>
            <a:ext cx="3900486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1857364"/>
            <a:ext cx="38290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4508500"/>
            <a:ext cx="3900486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4508500"/>
            <a:ext cx="3929090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428596" y="1785926"/>
            <a:ext cx="3929090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4786314" y="1785926"/>
            <a:ext cx="3929090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571472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72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2500298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571472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571472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2500298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4857752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4857752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6786578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4857752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4857752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6786578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57158" y="2071678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7158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57158" y="4357694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57158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4714876" y="2071678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4714876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4714876" y="4357694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4714876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250825" y="1785926"/>
            <a:ext cx="4176713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4716463" y="1785926"/>
            <a:ext cx="4176713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181" y="1630368"/>
            <a:ext cx="36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04819" y="1639878"/>
            <a:ext cx="36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9144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488" y="5870751"/>
            <a:ext cx="3286148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0877" y="2285992"/>
            <a:ext cx="7642246" cy="217167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00034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00034" y="2143117"/>
            <a:ext cx="3929090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714876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4714876" y="2143116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00034" y="385762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00034" y="4357694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00034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500034" y="2143116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14876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4714876" y="2143117"/>
            <a:ext cx="3929090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714876" y="385762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4714876" y="4357694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1857364"/>
            <a:ext cx="5111750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4"/>
            <a:ext cx="3008313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1643051"/>
            <a:ext cx="5486400" cy="308452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rgbClr val="0070C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F4648-08FD-4020-86D2-F789BB84DAF6}" type="datetime1">
              <a:rPr lang="ru-RU" smtClean="0"/>
              <a:pPr/>
              <a:t>27.09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99FE9-C4C4-421C-8420-5EF5B26BD74F}" type="datetime1">
              <a:rPr lang="ru-RU" smtClean="0"/>
              <a:pPr/>
              <a:t>27.09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1142984"/>
            <a:ext cx="5643602" cy="1345612"/>
          </a:xfrm>
          <a:prstGeom prst="rect">
            <a:avLst/>
          </a:prstGeom>
          <a:noFill/>
        </p:spPr>
      </p:pic>
      <p:sp>
        <p:nvSpPr>
          <p:cNvPr id="9" name="Прямоугольник 8"/>
          <p:cNvSpPr/>
          <p:nvPr userDrawn="1"/>
        </p:nvSpPr>
        <p:spPr>
          <a:xfrm>
            <a:off x="0" y="5715016"/>
            <a:ext cx="9144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488" y="5870751"/>
            <a:ext cx="3286148" cy="55864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3753" y="2410100"/>
            <a:ext cx="7356494" cy="209047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без лог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3714752"/>
            <a:ext cx="82296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21571" y="1214422"/>
            <a:ext cx="6500858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/>
              <a:pPr/>
              <a:t>27.09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428596" y="6215082"/>
            <a:ext cx="2976560" cy="450736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715" r:id="rId2"/>
    <p:sldLayoutId id="2147483708" r:id="rId3"/>
    <p:sldLayoutId id="2147483714" r:id="rId4"/>
    <p:sldLayoutId id="2147483713" r:id="rId5"/>
    <p:sldLayoutId id="2147483710" r:id="rId6"/>
    <p:sldLayoutId id="2147483698" r:id="rId7"/>
    <p:sldLayoutId id="2147483709" r:id="rId8"/>
    <p:sldLayoutId id="2147483711" r:id="rId9"/>
    <p:sldLayoutId id="2147483712" r:id="rId10"/>
    <p:sldLayoutId id="2147483700" r:id="rId11"/>
    <p:sldLayoutId id="2147483701" r:id="rId12"/>
    <p:sldLayoutId id="2147483720" r:id="rId13"/>
    <p:sldLayoutId id="2147483703" r:id="rId14"/>
    <p:sldLayoutId id="2147483722" r:id="rId15"/>
    <p:sldLayoutId id="2147483723" r:id="rId16"/>
    <p:sldLayoutId id="2147483727" r:id="rId17"/>
    <p:sldLayoutId id="2147483726" r:id="rId18"/>
    <p:sldLayoutId id="2147483724" r:id="rId19"/>
    <p:sldLayoutId id="2147483728" r:id="rId20"/>
    <p:sldLayoutId id="2147483729" r:id="rId21"/>
    <p:sldLayoutId id="2147483704" r:id="rId22"/>
    <p:sldLayoutId id="2147483705" r:id="rId23"/>
    <p:sldLayoutId id="2147483731" r:id="rId24"/>
    <p:sldLayoutId id="2147483732" r:id="rId25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T8QqfytAjJo" TargetMode="External"/><Relationship Id="rId2" Type="http://schemas.openxmlformats.org/officeDocument/2006/relationships/hyperlink" Target="https://www.youtube.com/watch?v=ACIx8Rk7Jo4" TargetMode="External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23528" y="2852936"/>
            <a:ext cx="8568952" cy="1296144"/>
          </a:xfrm>
        </p:spPr>
        <p:txBody>
          <a:bodyPr>
            <a:noAutofit/>
          </a:bodyPr>
          <a:lstStyle/>
          <a:p>
            <a:r>
              <a:rPr lang="ru-RU" sz="3600" dirty="0"/>
              <a:t>Организация проектной и учебно- исследовательской деятельности </a:t>
            </a:r>
            <a:br>
              <a:rPr lang="ru-RU" sz="3600" dirty="0"/>
            </a:br>
            <a:r>
              <a:rPr lang="ru-RU" sz="3600" dirty="0"/>
              <a:t>по физике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923928" y="4293096"/>
            <a:ext cx="504056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err="1" smtClean="0">
                <a:solidFill>
                  <a:schemeClr val="bg1"/>
                </a:solidFill>
              </a:rPr>
              <a:t>Опаловский</a:t>
            </a:r>
            <a:r>
              <a:rPr lang="ru-RU" sz="2000" dirty="0" smtClean="0">
                <a:solidFill>
                  <a:schemeClr val="bg1"/>
                </a:solidFill>
              </a:rPr>
              <a:t> Владимир Александрович, </a:t>
            </a:r>
            <a:r>
              <a:rPr lang="ru-RU" sz="2000" dirty="0" err="1" smtClean="0">
                <a:solidFill>
                  <a:schemeClr val="bg1"/>
                </a:solidFill>
              </a:rPr>
              <a:t>к.т.н</a:t>
            </a:r>
            <a:endParaRPr lang="ru-RU" sz="2000" dirty="0" smtClean="0">
              <a:solidFill>
                <a:schemeClr val="bg1"/>
              </a:solidFill>
            </a:endParaRPr>
          </a:p>
          <a:p>
            <a:r>
              <a:rPr lang="ru-RU" sz="2000" dirty="0" smtClean="0">
                <a:solidFill>
                  <a:schemeClr val="bg1"/>
                </a:solidFill>
              </a:rPr>
              <a:t>Пешкова </a:t>
            </a:r>
            <a:r>
              <a:rPr lang="ru-RU" sz="2000" dirty="0">
                <a:solidFill>
                  <a:schemeClr val="bg1"/>
                </a:solidFill>
              </a:rPr>
              <a:t>Анна </a:t>
            </a:r>
            <a:r>
              <a:rPr lang="ru-RU" sz="2000" dirty="0" smtClean="0">
                <a:solidFill>
                  <a:schemeClr val="bg1"/>
                </a:solidFill>
              </a:rPr>
              <a:t>Вячеславовна, </a:t>
            </a:r>
            <a:r>
              <a:rPr lang="ru-RU" sz="2000" dirty="0" err="1" smtClean="0">
                <a:solidFill>
                  <a:schemeClr val="bg1"/>
                </a:solidFill>
              </a:rPr>
              <a:t>к.п.н</a:t>
            </a:r>
            <a:endParaRPr lang="ru-RU" sz="2000" dirty="0">
              <a:solidFill>
                <a:schemeClr val="bg1"/>
              </a:solidFill>
            </a:endParaRPr>
          </a:p>
          <a:p>
            <a:r>
              <a:rPr lang="ru-RU" sz="2000" dirty="0" smtClean="0">
                <a:solidFill>
                  <a:schemeClr val="bg1"/>
                </a:solidFill>
              </a:rPr>
              <a:t>Методисты </a:t>
            </a:r>
            <a:r>
              <a:rPr lang="ru-RU" sz="2000" dirty="0">
                <a:solidFill>
                  <a:schemeClr val="bg1"/>
                </a:solidFill>
              </a:rPr>
              <a:t>по физике </a:t>
            </a:r>
          </a:p>
          <a:p>
            <a:r>
              <a:rPr lang="ru-RU" sz="2000" dirty="0">
                <a:solidFill>
                  <a:schemeClr val="bg1"/>
                </a:solidFill>
              </a:rPr>
              <a:t>Корпорации «Российский учебник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188685C-7D2D-4D2F-8655-D29A23646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68421949-7670-4B62-9E52-4A2E09ED8FF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5058" t="7955" r="14732" b="5353"/>
          <a:stretch/>
        </p:blipFill>
        <p:spPr>
          <a:xfrm>
            <a:off x="0" y="-99391"/>
            <a:ext cx="9144000" cy="705678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454084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1B50188-3FF1-40F0-B451-1F367433EA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9EE9F32D-B8CA-42CC-B118-EA20AA84B4B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3208" t="10179" r="13208" b="7089"/>
          <a:stretch/>
        </p:blipFill>
        <p:spPr>
          <a:xfrm>
            <a:off x="0" y="180000"/>
            <a:ext cx="9144000" cy="591329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125091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9C6EC4A-A5A9-48C9-BC64-9E9FA2FA1C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DF97ECFD-21D4-4849-BD9D-7BE76B1DAC8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213" t="10179" r="12214" b="5499"/>
          <a:stretch/>
        </p:blipFill>
        <p:spPr>
          <a:xfrm>
            <a:off x="0" y="0"/>
            <a:ext cx="9144000" cy="609329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995414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EE9A1B3-EE3E-43AA-9005-1ADD205131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C4096DD3-74B7-42BF-8722-320F36D1699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3208" t="10179" r="13208" b="5499"/>
          <a:stretch/>
        </p:blipFill>
        <p:spPr>
          <a:xfrm>
            <a:off x="0" y="1"/>
            <a:ext cx="9110856" cy="609329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195515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38741B8-8BDB-47A6-9D38-3B0C74E79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F3C03963-055B-49CF-828F-FBA806FDC6E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print"/>
          <a:srcRect l="13208" t="10179" r="12214" b="5499"/>
          <a:stretch/>
        </p:blipFill>
        <p:spPr>
          <a:xfrm>
            <a:off x="25163" y="116632"/>
            <a:ext cx="9118838" cy="652707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617017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C4E92B8-8F57-4C63-8AD4-97F7C8EC81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6A5492B8-3B1C-46DE-A800-CBB65FB833D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213" t="10179" r="12214" b="5499"/>
          <a:stretch/>
        </p:blipFill>
        <p:spPr>
          <a:xfrm>
            <a:off x="0" y="-171400"/>
            <a:ext cx="9144000" cy="635274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790478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962FD7A-CF23-4AA7-A206-099F27FC1A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F3F98C67-1D75-404F-AF1D-E3847AB8E9D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213" t="10179" r="12214" b="5499"/>
          <a:stretch/>
        </p:blipFill>
        <p:spPr>
          <a:xfrm>
            <a:off x="-19452" y="0"/>
            <a:ext cx="9163452" cy="614951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719921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6F7F273-8587-4442-92EA-A5692AFB6F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FA6C856C-420E-4A3D-B82D-918A1650FB9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493" t="9797" r="12287" b="4837"/>
          <a:stretch/>
        </p:blipFill>
        <p:spPr>
          <a:xfrm>
            <a:off x="1" y="116633"/>
            <a:ext cx="9144000" cy="672649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61779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ACF04E5-84F2-41AD-BA1B-1E30820ED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DF7F18D4-4F1F-45D1-BD3B-6B39479ED8A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512" t="10105" r="13126" b="5760"/>
          <a:stretch/>
        </p:blipFill>
        <p:spPr>
          <a:xfrm>
            <a:off x="-2292" y="0"/>
            <a:ext cx="9146292" cy="616530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791675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367986F-7243-4559-AA57-E9E85803F5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E3E03FA8-B609-40A4-9237-5B4538D1EB2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213" t="10179" r="12214" b="5499"/>
          <a:stretch/>
        </p:blipFill>
        <p:spPr>
          <a:xfrm>
            <a:off x="0" y="-22871"/>
            <a:ext cx="9144000" cy="618817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34707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dirty="0"/>
              <a:t>Преимущества </a:t>
            </a:r>
            <a:r>
              <a:rPr lang="ru-RU" sz="3600" dirty="0" err="1"/>
              <a:t>деятельностного</a:t>
            </a:r>
            <a:r>
              <a:rPr lang="ru-RU" sz="3600" dirty="0"/>
              <a:t> подход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lvl="0"/>
            <a:r>
              <a:rPr lang="ru-RU" dirty="0"/>
              <a:t>Четкие определения понятий об изучаемых элементах физического знания дают возможность учащимся самостоятельно формулировать определения физических величин, законы и понятия </a:t>
            </a:r>
            <a:r>
              <a:rPr lang="ru-RU"/>
              <a:t>о явлениях;</a:t>
            </a:r>
            <a:endParaRPr lang="ru-RU" dirty="0"/>
          </a:p>
          <a:p>
            <a:pPr lvl="0"/>
            <a:r>
              <a:rPr lang="ru-RU" dirty="0"/>
              <a:t>Одинаковые подходы к изучению каждого элемента знаний дают необходимую при изучении физики систему взглядов и понятий, позволяющих обобщить и систематизировать материал;</a:t>
            </a:r>
          </a:p>
          <a:p>
            <a:pPr lvl="0"/>
            <a:r>
              <a:rPr lang="ru-RU" dirty="0"/>
              <a:t>Многие сложные темы усваиваются лучше не только из-за поэтапной отработки материала, но и из-за наличия системы;</a:t>
            </a:r>
          </a:p>
          <a:p>
            <a:r>
              <a:rPr lang="ru-RU" dirty="0"/>
              <a:t>Обучение методам физики также приводится в систему, при этом методологические знания усваиваются в ходе изучения самого курса физики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759E8CFF-57E4-4689-9FBD-1599720700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604B4770-A684-4962-A87A-EEEBFA384D2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213" t="10179" r="13208" b="5499"/>
          <a:stretch/>
        </p:blipFill>
        <p:spPr>
          <a:xfrm>
            <a:off x="0" y="5710"/>
            <a:ext cx="9144000" cy="608758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59844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0F79103-1BEB-4E6C-AB78-EBF9AE7015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1FF243B9-EBBC-487D-A886-A1582D70E82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213" t="10179" r="12214" b="5499"/>
          <a:stretch/>
        </p:blipFill>
        <p:spPr>
          <a:xfrm>
            <a:off x="-6856" y="10274"/>
            <a:ext cx="9150856" cy="608302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805928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409AF955-5E3D-45DD-A753-966C7DF9B1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78D42267-35F3-4870-87D7-D793875A307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213" t="10178" r="12214" b="6558"/>
          <a:stretch/>
        </p:blipFill>
        <p:spPr>
          <a:xfrm>
            <a:off x="0" y="20567"/>
            <a:ext cx="9144000" cy="629661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241213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09AEE25-462E-472D-945C-A8D300E9E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A8ADEDCB-C084-47CE-91EC-BA2F1062606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213" t="10179" r="12214" b="5499"/>
          <a:stretch/>
        </p:blipFill>
        <p:spPr>
          <a:xfrm>
            <a:off x="0" y="10273"/>
            <a:ext cx="9144000" cy="622703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274529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BC2D185-06A1-48A3-91B4-9BFF1AB5A6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F4B8CF99-6E68-4369-A77A-2961395D3AE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213" t="10179" r="12214" b="5499"/>
          <a:stretch/>
        </p:blipFill>
        <p:spPr>
          <a:xfrm>
            <a:off x="-10284" y="29705"/>
            <a:ext cx="9154284" cy="606359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678032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E28F6D0-15A7-43B8-9D64-9F687A7A6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262F4CCB-6170-46FD-AC87-9E2BE39679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743ACAF8-2702-4E25-99BE-3C52D0BC2C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l="12988" t="9680" r="12988" b="5900"/>
          <a:stretch/>
        </p:blipFill>
        <p:spPr>
          <a:xfrm>
            <a:off x="0" y="0"/>
            <a:ext cx="9154960" cy="612616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427022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ACBB212C-A6A7-4CF1-BAEB-E85492ED4C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43214A3E-6708-463C-B0C4-697415A465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3208" t="10179" r="12213" b="5499"/>
          <a:stretch/>
        </p:blipFill>
        <p:spPr>
          <a:xfrm>
            <a:off x="0" y="116632"/>
            <a:ext cx="9144000" cy="590465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032586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047DF1A-7995-44B3-B80E-16B2C719F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109FABCA-ADFB-4AEC-B419-2005C084EB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213" t="11137" r="13208" b="10904"/>
          <a:stretch/>
        </p:blipFill>
        <p:spPr>
          <a:xfrm>
            <a:off x="0" y="30852"/>
            <a:ext cx="9144000" cy="597408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336611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6A888D4-1AF5-4203-A70D-285171680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066DFCEC-BF62-4693-91E5-E43469E7B73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213" t="11769" r="13208" b="5500"/>
          <a:stretch/>
        </p:blipFill>
        <p:spPr>
          <a:xfrm>
            <a:off x="-9148" y="-1"/>
            <a:ext cx="9153148" cy="602128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408741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E3A07A6-18B2-4364-A89B-1272B64D8B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BB6861C3-1A25-4810-8929-31C5949700B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913" t="17333" r="12597" b="6387"/>
          <a:stretch/>
        </p:blipFill>
        <p:spPr>
          <a:xfrm>
            <a:off x="0" y="33164"/>
            <a:ext cx="9144000" cy="585216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082235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88640"/>
            <a:ext cx="8229600" cy="1143000"/>
          </a:xfrm>
        </p:spPr>
        <p:txBody>
          <a:bodyPr>
            <a:normAutofit/>
          </a:bodyPr>
          <a:lstStyle/>
          <a:p>
            <a:r>
              <a:rPr lang="ru-RU" sz="4000" dirty="0"/>
              <a:t>Виды деятельности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lvl="0"/>
            <a:r>
              <a:rPr lang="ru-RU" dirty="0"/>
              <a:t>Создавать физические знания;</a:t>
            </a:r>
          </a:p>
          <a:p>
            <a:pPr lvl="0"/>
            <a:r>
              <a:rPr lang="ru-RU" dirty="0"/>
              <a:t>Распознавать конкретные ситуации, соответствующие тем или иным физическим знаниям;</a:t>
            </a:r>
          </a:p>
          <a:p>
            <a:pPr lvl="0"/>
            <a:r>
              <a:rPr lang="ru-RU" dirty="0"/>
              <a:t>Воспроизводить конкретные ситуации, соответствующие тем или иным физическим знаниям;</a:t>
            </a:r>
          </a:p>
          <a:p>
            <a:pPr lvl="0"/>
            <a:r>
              <a:rPr lang="ru-RU" dirty="0"/>
              <a:t>Создавать приборы и технические устройства;</a:t>
            </a:r>
          </a:p>
          <a:p>
            <a:pPr lvl="0"/>
            <a:r>
              <a:rPr lang="ru-RU" dirty="0"/>
              <a:t>Эксплуатировать приборы и технические устройства;</a:t>
            </a:r>
          </a:p>
          <a:p>
            <a:pPr lvl="0"/>
            <a:r>
              <a:rPr lang="ru-RU" dirty="0"/>
              <a:t>Монтировать экспериментальные установки;</a:t>
            </a:r>
          </a:p>
          <a:p>
            <a:pPr lvl="0"/>
            <a:r>
              <a:rPr lang="ru-RU" dirty="0"/>
              <a:t>Решать физические задачи;</a:t>
            </a:r>
          </a:p>
          <a:p>
            <a:pPr lvl="0"/>
            <a:r>
              <a:rPr lang="ru-RU" dirty="0"/>
              <a:t>Классифицировать, обобщать, систематизировать, готовить обзоры научной информации;</a:t>
            </a:r>
          </a:p>
          <a:p>
            <a:pPr lvl="0"/>
            <a:r>
              <a:rPr lang="ru-RU" dirty="0"/>
              <a:t>Строить ответы на поставленные вопросы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5089883A-EFEF-4943-BB72-DFF73E4044B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4000" dirty="0"/>
              <a:t>Оборудование</a:t>
            </a:r>
          </a:p>
        </p:txBody>
      </p:sp>
      <p:sp>
        <p:nvSpPr>
          <p:cNvPr id="5" name="Подзаголовок 4">
            <a:extLst>
              <a:ext uri="{FF2B5EF4-FFF2-40B4-BE49-F238E27FC236}">
                <a16:creationId xmlns="" xmlns:a16="http://schemas.microsoft.com/office/drawing/2014/main" id="{FD510732-389B-4999-B09A-E623CB77366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770168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69ABEDC-7C10-4C3D-80F5-F10D97B75F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6AFEE84D-B5D0-4896-9037-9B15D8C62A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926" t="9546" r="12495" b="6131"/>
          <a:stretch/>
        </p:blipFill>
        <p:spPr>
          <a:xfrm>
            <a:off x="0" y="0"/>
            <a:ext cx="9144000" cy="609329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69376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967D5CF-6940-4CAA-B005-0362BA8368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7BA7920F-AFFF-49DF-9B3E-559DBEB239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8E4E2756-95E6-456A-9448-5FFB25F3572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l="12988" t="9680" r="12988" b="6639"/>
          <a:stretch/>
        </p:blipFill>
        <p:spPr>
          <a:xfrm>
            <a:off x="0" y="2292"/>
            <a:ext cx="9036496" cy="612387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668958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0E6B913-732C-4E5E-865D-3A34AFCF0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11F305B6-9BFC-4B05-8BC7-96E4483A962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3208" t="8587" r="12214" b="7090"/>
          <a:stretch/>
        </p:blipFill>
        <p:spPr>
          <a:xfrm>
            <a:off x="6856" y="0"/>
            <a:ext cx="9137144" cy="613867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363111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3242B41-18A5-481E-A8A8-60688914AE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246A643D-DC5F-4ABD-8A50-58B9A1249C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5AECE1B0-4596-4F23-9532-A53EB313055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l="12600" t="10206" r="12589" b="5375"/>
          <a:stretch/>
        </p:blipFill>
        <p:spPr>
          <a:xfrm>
            <a:off x="1" y="482"/>
            <a:ext cx="9154968" cy="612568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649896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CACB566-257B-4B12-BE7C-AE90CE6AC2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9A3A9A81-E8EA-4C75-94ED-1386B47870E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213" t="10177" r="13208" b="5499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74726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F99B3769-8EF0-4166-8608-5B95B8E908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207F0899-F5F1-4F84-B37C-37846B50E10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3208" t="10179" r="13208" b="7089"/>
          <a:stretch/>
        </p:blipFill>
        <p:spPr>
          <a:xfrm>
            <a:off x="0" y="-34280"/>
            <a:ext cx="9146292" cy="605556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155927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6BED02A-6401-458F-B18F-F14A05E7A2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14366221-DE36-44A6-AE08-100DDDBB29B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3208" t="10178" r="12214" b="5498"/>
          <a:stretch/>
        </p:blipFill>
        <p:spPr>
          <a:xfrm>
            <a:off x="0" y="-18296"/>
            <a:ext cx="9144000" cy="687629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281779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0228E16-8C32-4589-B607-2C753FE091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B801C223-AD8C-4360-87A2-274F09F816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61659A13-D2A9-4074-8266-0F835E47FA2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l="12988" t="9680" r="12988" b="5900"/>
          <a:stretch/>
        </p:blipFill>
        <p:spPr>
          <a:xfrm>
            <a:off x="0" y="-12576"/>
            <a:ext cx="9172604" cy="687057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624525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9D335F9B-0639-4452-92B7-606D80F07EC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4400" dirty="0"/>
              <a:t>Примеры экспериментов</a:t>
            </a:r>
          </a:p>
        </p:txBody>
      </p:sp>
      <p:sp>
        <p:nvSpPr>
          <p:cNvPr id="5" name="Подзаголовок 4">
            <a:extLst>
              <a:ext uri="{FF2B5EF4-FFF2-40B4-BE49-F238E27FC236}">
                <a16:creationId xmlns="" xmlns:a16="http://schemas.microsoft.com/office/drawing/2014/main" id="{80488A50-2281-425A-A7A3-688F8BDA31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76985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dirty="0"/>
              <a:t>Определяем понятия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endParaRPr lang="ru-RU" dirty="0"/>
          </a:p>
          <a:p>
            <a:endParaRPr lang="ru-RU" dirty="0"/>
          </a:p>
          <a:p>
            <a:pPr>
              <a:buNone/>
            </a:pPr>
            <a:r>
              <a:rPr lang="ru-RU" dirty="0"/>
              <a:t>          Термин           - это      родовое                          видовые </a:t>
            </a:r>
          </a:p>
          <a:p>
            <a:pPr>
              <a:buNone/>
            </a:pPr>
            <a:r>
              <a:rPr lang="ru-RU" dirty="0"/>
              <a:t>                                                  понятие                           отличия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r>
              <a:rPr lang="ru-RU" dirty="0"/>
              <a:t>Плотность – это физическая величина, равная отношению массы тела к его объему</a:t>
            </a:r>
          </a:p>
          <a:p>
            <a:r>
              <a:rPr lang="ru-RU" dirty="0"/>
              <a:t>Механическая работа прямо пропорциональна пройденному пути…</a:t>
            </a:r>
          </a:p>
          <a:p>
            <a:pPr>
              <a:buNone/>
            </a:pP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899592" y="2420888"/>
            <a:ext cx="1728192" cy="792088"/>
          </a:xfrm>
          <a:prstGeom prst="rect">
            <a:avLst/>
          </a:prstGeom>
          <a:noFill/>
          <a:ln cmpd="sng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3635896" y="2420888"/>
            <a:ext cx="1728192" cy="792088"/>
          </a:xfrm>
          <a:prstGeom prst="rect">
            <a:avLst/>
          </a:prstGeom>
          <a:noFill/>
          <a:ln cmpd="sng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6516216" y="2420888"/>
            <a:ext cx="1728192" cy="792088"/>
          </a:xfrm>
          <a:prstGeom prst="rect">
            <a:avLst/>
          </a:prstGeom>
          <a:noFill/>
          <a:ln cmpd="sng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369F8A3-AD8D-492D-95F6-CB89409159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D653CC67-975A-4B90-BF1A-014DF91DD9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A7A880BB-171D-4D38-B3B3-9CFAA2234D0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l="20075" t="9680" r="20863" b="7160"/>
          <a:stretch/>
        </p:blipFill>
        <p:spPr>
          <a:xfrm>
            <a:off x="1350819" y="0"/>
            <a:ext cx="7793181" cy="6858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717398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7E72945-97A8-4886-A2B3-C6D633C99E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1CBBF470-5B5E-4ADE-B5CF-52AD3676CB8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213" t="10179" r="12214" b="5499"/>
          <a:stretch/>
        </p:blipFill>
        <p:spPr>
          <a:xfrm>
            <a:off x="-59084" y="28580"/>
            <a:ext cx="9203084" cy="606471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841165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1D05990-7B88-4514-AD5C-2F8BBD484C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3DCA2016-A997-4CD9-98A9-014EA95EF73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20169" t="10177" r="21163" b="5501"/>
          <a:stretch/>
        </p:blipFill>
        <p:spPr>
          <a:xfrm>
            <a:off x="3039244" y="214290"/>
            <a:ext cx="6084168" cy="546544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440268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B07363E-3494-4DB5-BD3A-F1022B8F9D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F59F9CE0-03B0-4629-A4E7-0B7D85DBC29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213" t="10179" r="13208" b="7089"/>
          <a:stretch/>
        </p:blipFill>
        <p:spPr>
          <a:xfrm>
            <a:off x="0" y="0"/>
            <a:ext cx="9144000" cy="623731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67339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BAEAB72-CEA1-41CE-A0F6-034723CEBD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668D290A-C03A-453F-A426-8FFC28BDBD3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20168" t="10178" r="21164" b="10272"/>
          <a:stretch/>
        </p:blipFill>
        <p:spPr>
          <a:xfrm>
            <a:off x="2411760" y="-30"/>
            <a:ext cx="6765276" cy="573328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9199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A2E54CD-64D0-4AB3-A6A8-DC3AB625AD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DFB2B3D6-2A7D-43C9-AAE3-44E02C4692D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3208" t="10179" r="13208" b="7089"/>
          <a:stretch/>
        </p:blipFill>
        <p:spPr>
          <a:xfrm>
            <a:off x="457200" y="692696"/>
            <a:ext cx="7416824" cy="521182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280318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4155E6A-3AB9-40D6-BE25-2809CC6B9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65F93A7A-EF6A-4DE3-875D-8ACBE5A1B6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BD0794DE-0773-4CCC-937E-3CB613B5FCA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l="12988" t="9680" r="12988" b="5900"/>
          <a:stretch/>
        </p:blipFill>
        <p:spPr>
          <a:xfrm>
            <a:off x="683568" y="0"/>
            <a:ext cx="8346751" cy="594928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18540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66BDD67-45BB-4A76-94C5-27F11A167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89BE1978-8E6E-4B93-8D75-91AFD9F412D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3208" t="10519" r="13208" b="5157"/>
          <a:stretch/>
        </p:blipFill>
        <p:spPr>
          <a:xfrm>
            <a:off x="6846" y="0"/>
            <a:ext cx="9137154" cy="621672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49551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4D6B957-2200-4D33-AD1C-38B9D20B8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2D6E4B03-2FE9-4D64-8B39-A98D7DDB847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27129" t="10178" r="25141" b="5498"/>
          <a:stretch/>
        </p:blipFill>
        <p:spPr>
          <a:xfrm>
            <a:off x="2950156" y="10119"/>
            <a:ext cx="6192688" cy="683776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904943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088EE83-584D-4F1A-B580-64462F87A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DB1D8A6D-C305-41D7-B185-1EDA2544D3A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214" t="10178" r="13208" b="8680"/>
          <a:stretch/>
        </p:blipFill>
        <p:spPr>
          <a:xfrm>
            <a:off x="0" y="0"/>
            <a:ext cx="9144000" cy="616530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118519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E56EE7C4-0696-4B34-A055-B4846A6CB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F3DC2339-68BC-4F61-9128-1A4D684599D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280" t="9863" r="12313" b="6518"/>
          <a:stretch/>
        </p:blipFill>
        <p:spPr>
          <a:xfrm>
            <a:off x="0" y="44624"/>
            <a:ext cx="9144000" cy="681049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582640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64CF5D6E-54A8-45F2-83B4-D729E28E9D9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4400" dirty="0"/>
              <a:t>Открытие законов</a:t>
            </a:r>
          </a:p>
        </p:txBody>
      </p:sp>
      <p:sp>
        <p:nvSpPr>
          <p:cNvPr id="5" name="Подзаголовок 4">
            <a:extLst>
              <a:ext uri="{FF2B5EF4-FFF2-40B4-BE49-F238E27FC236}">
                <a16:creationId xmlns="" xmlns:a16="http://schemas.microsoft.com/office/drawing/2014/main" id="{23437F2C-64AC-4943-9AD0-F1436C557A2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982679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dirty="0"/>
              <a:t>Открываем закон Ом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Исходная ситуация: Обнаружено, что сила тока, протекающего через резистор, может принимать различные значения</a:t>
            </a:r>
          </a:p>
          <a:p>
            <a:r>
              <a:rPr lang="ru-RU" dirty="0"/>
              <a:t>Познавательная задача: От каких физических величин, описывающих  электрическое поле в проводнике, зависит сила тока, протекающего через резистор?</a:t>
            </a:r>
          </a:p>
          <a:p>
            <a:r>
              <a:rPr lang="ru-RU" dirty="0"/>
              <a:t>Гипотеза: сила тока в проводнике может зависеть</a:t>
            </a:r>
          </a:p>
          <a:p>
            <a:pPr lvl="1"/>
            <a:r>
              <a:rPr lang="ru-RU" dirty="0"/>
              <a:t>От напряжения</a:t>
            </a:r>
          </a:p>
          <a:p>
            <a:pPr lvl="1"/>
            <a:r>
              <a:rPr lang="ru-RU" dirty="0"/>
              <a:t>От материала проводника</a:t>
            </a:r>
          </a:p>
          <a:p>
            <a:pPr lvl="1"/>
            <a:r>
              <a:rPr lang="ru-RU" dirty="0"/>
              <a:t>От его длины</a:t>
            </a:r>
          </a:p>
          <a:p>
            <a:pPr lvl="1"/>
            <a:r>
              <a:rPr lang="ru-RU" dirty="0"/>
              <a:t>От его толщин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dirty="0" err="1"/>
              <a:t>Интернет-материалы</a:t>
            </a:r>
            <a:endParaRPr lang="ru-RU" sz="36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https://www.youtube.com/watch?v=ACIx8Rk7Jo4</a:t>
            </a:r>
            <a:r>
              <a:rPr lang="ru-RU" dirty="0"/>
              <a:t> – опыты по закону Кулона</a:t>
            </a:r>
          </a:p>
          <a:p>
            <a:r>
              <a:rPr lang="en-US" dirty="0">
                <a:hlinkClick r:id="rId3"/>
              </a:rPr>
              <a:t>https://www.youtube.com/watch?v=T8QqfytAjJo</a:t>
            </a:r>
            <a:r>
              <a:rPr lang="ru-RU" dirty="0"/>
              <a:t> – опыты по магнетизму</a:t>
            </a:r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dirty="0"/>
              <a:t>Пример получения закон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dirty="0"/>
              <a:t>Исходная ситуация: обнаружено, что разные математические маятники имеют различные значения периода колебаний;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Формулирование познавательной задачи: от каких физических величин, характеризующих маятник, зависит период его колебаний?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Гипотезы: </a:t>
            </a:r>
          </a:p>
          <a:p>
            <a:pPr lvl="1"/>
            <a:r>
              <a:rPr lang="ru-RU" dirty="0"/>
              <a:t>от массы груза, </a:t>
            </a:r>
          </a:p>
          <a:p>
            <a:pPr lvl="1"/>
            <a:r>
              <a:rPr lang="ru-RU" dirty="0"/>
              <a:t>от длины нити,</a:t>
            </a:r>
          </a:p>
          <a:p>
            <a:pPr lvl="1"/>
            <a:r>
              <a:rPr lang="ru-RU" dirty="0"/>
              <a:t>от амплитуды колебаний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Формулирование задачи под каждую гипотезу: зависит ли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dirty="0"/>
              <a:t>Пример получения закон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 startAt="5"/>
            </a:pPr>
            <a:r>
              <a:rPr lang="ru-RU" dirty="0"/>
              <a:t>Идея экспериментов под каждую задачу. Эксперименты выполняются группами учащихся.</a:t>
            </a:r>
          </a:p>
          <a:p>
            <a:pPr marL="1019175" lvl="1" indent="-457200">
              <a:buFont typeface="+mj-lt"/>
              <a:buAutoNum type="arabicPeriod"/>
            </a:pPr>
            <a:r>
              <a:rPr lang="ru-RU" dirty="0"/>
              <a:t>Зависимость от массы груза: не меняя длину нити, меняем массу подвешенных грузов</a:t>
            </a:r>
          </a:p>
          <a:p>
            <a:pPr marL="1019175" lvl="1" indent="-457200">
              <a:buFont typeface="+mj-lt"/>
              <a:buAutoNum type="arabicPeriod"/>
            </a:pPr>
            <a:r>
              <a:rPr lang="ru-RU" dirty="0"/>
              <a:t>От длины нити:</a:t>
            </a:r>
          </a:p>
          <a:p>
            <a:pPr marL="1019175" lvl="1" indent="-457200">
              <a:buFont typeface="+mj-lt"/>
              <a:buAutoNum type="arabicPeriod" startAt="5"/>
            </a:pPr>
            <a:r>
              <a:rPr lang="ru-RU" dirty="0"/>
              <a:t>От амплитуды:</a:t>
            </a:r>
          </a:p>
          <a:p>
            <a:pPr marL="457200" indent="-457200">
              <a:buFont typeface="+mj-lt"/>
              <a:buAutoNum type="arabicPeriod" startAt="5"/>
            </a:pPr>
            <a:r>
              <a:rPr lang="ru-RU" dirty="0"/>
              <a:t>Реализация эксперимента под каждую задачу:</a:t>
            </a:r>
          </a:p>
          <a:p>
            <a:pPr marL="457200" indent="-457200">
              <a:buFont typeface="+mj-lt"/>
              <a:buAutoNum type="arabicPeriod" startAt="5"/>
            </a:pPr>
            <a:r>
              <a:rPr lang="ru-RU" dirty="0"/>
              <a:t>Формулирование частных выводов. Например: при длине нити 15 см период колебаний не зависит от массы груза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dirty="0"/>
              <a:t>Пример получения закон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 startAt="8"/>
            </a:pPr>
            <a:r>
              <a:rPr lang="ru-RU" dirty="0"/>
              <a:t>Уточнение познавательной задачи Каков вид зависимости периода колебаний от длины нити? Перестраиваем график в координатах  Т от </a:t>
            </a:r>
          </a:p>
          <a:p>
            <a:pPr marL="457200" indent="-457200">
              <a:buFont typeface="+mj-lt"/>
              <a:buAutoNum type="arabicPeriod" startAt="8"/>
            </a:pPr>
            <a:r>
              <a:rPr lang="ru-RU" dirty="0"/>
              <a:t>Вывод: для данного маятника период колебаний пропорционален корню из его длины</a:t>
            </a:r>
          </a:p>
          <a:p>
            <a:pPr marL="457200" indent="-457200">
              <a:buFont typeface="+mj-lt"/>
              <a:buAutoNum type="arabicPeriod" startAt="8"/>
            </a:pPr>
            <a:r>
              <a:rPr lang="ru-RU" dirty="0"/>
              <a:t>Общий вывод: период колебаний нитяного маятника прямо пропорционален корню из его длины</a:t>
            </a:r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/>
        </p:nvGraphicFramePr>
        <p:xfrm>
          <a:off x="6660232" y="2348880"/>
          <a:ext cx="504056" cy="533706"/>
        </p:xfrm>
        <a:graphic>
          <a:graphicData uri="http://schemas.openxmlformats.org/presentationml/2006/ole">
            <p:oleObj spid="_x0000_s1070" name="Формула" r:id="rId3" imgW="5181600" imgH="5486400" progId="Equation.3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A839EAF8-F1B8-49FC-A06C-79C0B326BDF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4400" dirty="0"/>
              <a:t>Проводим эксперимент</a:t>
            </a:r>
          </a:p>
        </p:txBody>
      </p:sp>
      <p:sp>
        <p:nvSpPr>
          <p:cNvPr id="5" name="Подзаголовок 4">
            <a:extLst>
              <a:ext uri="{FF2B5EF4-FFF2-40B4-BE49-F238E27FC236}">
                <a16:creationId xmlns="" xmlns:a16="http://schemas.microsoft.com/office/drawing/2014/main" id="{97790A8F-5C94-4B9E-B9FB-993E6A540EE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336624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иды деятельности  при обработке экспериментальных данных: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Снятие показаний приборов</a:t>
            </a:r>
          </a:p>
          <a:p>
            <a:r>
              <a:rPr lang="ru-RU" dirty="0"/>
              <a:t>Определение погрешности результата прямых измерений</a:t>
            </a:r>
          </a:p>
          <a:p>
            <a:r>
              <a:rPr lang="ru-RU" dirty="0"/>
              <a:t>Сравнение величин с использованием погрешности</a:t>
            </a:r>
          </a:p>
          <a:p>
            <a:r>
              <a:rPr lang="ru-RU" dirty="0"/>
              <a:t>Построение графика с использованием погрешности</a:t>
            </a:r>
          </a:p>
          <a:p>
            <a:r>
              <a:rPr lang="ru-RU" dirty="0"/>
              <a:t>Уменьшение случайной погрешности методом многократных измерений</a:t>
            </a:r>
          </a:p>
          <a:p>
            <a:r>
              <a:rPr lang="ru-RU" dirty="0"/>
              <a:t>Определение погрешности результата косвенных измерений</a:t>
            </a:r>
          </a:p>
          <a:p>
            <a:r>
              <a:rPr lang="ru-RU" dirty="0"/>
              <a:t>Определение коэффициента пропорциональности по графику прямой пропорциональност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пределение максимальной абсолютной погрешности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ru-RU" dirty="0"/>
              <a:t>Определите, каким прибором вы пользуетесь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Определите инструментальную погрешность прибора (по таблице)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Определите погрешность отсчета как половину цены деления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Найдите систематическую погрешность результата.</a:t>
            </a:r>
          </a:p>
          <a:p>
            <a:pPr marL="457200" indent="-457200">
              <a:buNone/>
            </a:pPr>
            <a:r>
              <a:rPr lang="ru-RU" dirty="0"/>
              <a:t>            Запишите: </a:t>
            </a:r>
            <a:r>
              <a:rPr lang="el-GR" dirty="0"/>
              <a:t>Δ</a:t>
            </a:r>
            <a:r>
              <a:rPr lang="ru-RU" dirty="0"/>
              <a:t>Х=</a:t>
            </a:r>
            <a:r>
              <a:rPr lang="el-GR" dirty="0"/>
              <a:t>Δ</a:t>
            </a:r>
            <a:r>
              <a:rPr lang="ru-RU" dirty="0" err="1"/>
              <a:t>иХ+</a:t>
            </a:r>
            <a:r>
              <a:rPr lang="el-GR" dirty="0"/>
              <a:t>Δ</a:t>
            </a:r>
            <a:r>
              <a:rPr lang="ru-RU" dirty="0" err="1"/>
              <a:t>оХ</a:t>
            </a:r>
            <a:endParaRPr lang="ru-RU" dirty="0"/>
          </a:p>
          <a:p>
            <a:pPr marL="457200" indent="-457200">
              <a:buNone/>
            </a:pPr>
            <a:r>
              <a:rPr lang="ru-RU" dirty="0"/>
              <a:t>5.    Запишите результат измерения в </a:t>
            </a:r>
            <a:r>
              <a:rPr lang="ru-RU" dirty="0" err="1"/>
              <a:t>виде:Х=Хо±</a:t>
            </a:r>
            <a:r>
              <a:rPr lang="el-GR" dirty="0"/>
              <a:t>Δ</a:t>
            </a:r>
            <a:r>
              <a:rPr lang="ru-RU" dirty="0"/>
              <a:t>Х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строение графи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dirty="0"/>
              <a:t>Составьте сводную таблицу результатов, внеся в нее экспериментальные данные и их погрешности.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Начертите оси и подпишите их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Выберите масштаб для каждой из осей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Постройте точки с координатами из сводной таблицы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Вычислите значения погрешностей величин и отложите их по обе стороны от существующих точек, если это позволяет масштаб. Если масштаб не позволяет, измените его.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Проведите линию через полученные области. Экспериментальные точки, лежащие далеко от графика, перепроверяются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1BA7FDA-36A5-4BB0-A2F6-A8625E883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5DA7533D-9046-4F14-AB7A-D75D207F1E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213" t="10179" r="12214" b="5499"/>
          <a:stretch/>
        </p:blipFill>
        <p:spPr>
          <a:xfrm>
            <a:off x="-31998" y="2313"/>
            <a:ext cx="9175998" cy="623500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826437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graphicFrame>
        <p:nvGraphicFramePr>
          <p:cNvPr id="6" name="Содержимое 5"/>
          <p:cNvGraphicFramePr>
            <a:graphicFrameLocks noGrp="1"/>
          </p:cNvGraphicFramePr>
          <p:nvPr>
            <p:ph idx="1"/>
          </p:nvPr>
        </p:nvGraphicFramePr>
        <p:xfrm>
          <a:off x="428596" y="1500174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3059832" y="3717032"/>
            <a:ext cx="216024" cy="1440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5076056" y="3356992"/>
            <a:ext cx="216024" cy="1440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6660232" y="2564904"/>
            <a:ext cx="216024" cy="1440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Изображение 3"/>
          <p:cNvPicPr>
            <a:picLocks noChangeAspect="1"/>
          </p:cNvPicPr>
          <p:nvPr/>
        </p:nvPicPr>
        <p:blipFill>
          <a:blip r:embed="rId2" cstate="print">
            <a:lum bright="10000"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9267"/>
            <a:ext cx="9144000" cy="1896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699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9144000" cy="1394884"/>
          </a:xfrm>
        </p:spPr>
        <p:txBody>
          <a:bodyPr>
            <a:normAutofit/>
          </a:bodyPr>
          <a:lstStyle/>
          <a:p>
            <a:pPr algn="ctr"/>
            <a:r>
              <a:rPr lang="ru-RU" altLang="ru-RU" sz="4400" b="1" dirty="0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  <a:sym typeface="Arial" panose="020B0604020202020204" pitchFamily="34" charset="0"/>
              </a:rPr>
              <a:t>Школа </a:t>
            </a:r>
            <a:r>
              <a:rPr lang="ru-RU" altLang="ru-RU" sz="4400" b="1" dirty="0" err="1">
                <a:solidFill>
                  <a:schemeClr val="accent4">
                    <a:lumMod val="50000"/>
                  </a:schemeClr>
                </a:solidFill>
                <a:latin typeface="Century Gothic" panose="020B0502020202020204" pitchFamily="34" charset="0"/>
                <a:sym typeface="Arial" panose="020B0604020202020204" pitchFamily="34" charset="0"/>
              </a:rPr>
              <a:t>Знаника</a:t>
            </a:r>
            <a:endParaRPr lang="ru-RU" altLang="ru-RU" sz="4400" b="1" dirty="0">
              <a:solidFill>
                <a:schemeClr val="accent4">
                  <a:lumMod val="50000"/>
                </a:schemeClr>
              </a:solidFill>
              <a:latin typeface="Century Gothic" panose="020B0502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Объект 2"/>
          <p:cNvSpPr txBox="1">
            <a:spLocks/>
          </p:cNvSpPr>
          <p:nvPr/>
        </p:nvSpPr>
        <p:spPr>
          <a:xfrm>
            <a:off x="393135" y="1609801"/>
            <a:ext cx="8275131" cy="1247128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1800"/>
              </a:spcBef>
              <a:buClr>
                <a:schemeClr val="accent6"/>
              </a:buClr>
              <a:buNone/>
            </a:pPr>
            <a:r>
              <a:rPr lang="ru-RU" sz="2000" dirty="0">
                <a:latin typeface="Century Gothic" charset="0"/>
                <a:ea typeface="Century Gothic" charset="0"/>
                <a:cs typeface="Century Gothic" charset="0"/>
              </a:rPr>
              <a:t>Всероссийская </a:t>
            </a:r>
            <a:r>
              <a:rPr lang="ru-RU" sz="2000" b="1" dirty="0">
                <a:latin typeface="Century Gothic" charset="0"/>
                <a:ea typeface="Century Gothic" charset="0"/>
                <a:cs typeface="Century Gothic" charset="0"/>
              </a:rPr>
              <a:t>неделя мониторинга</a:t>
            </a:r>
            <a:r>
              <a:rPr lang="ru-RU" sz="2000" dirty="0">
                <a:latin typeface="Century Gothic" charset="0"/>
                <a:ea typeface="Century Gothic" charset="0"/>
                <a:cs typeface="Century Gothic" charset="0"/>
              </a:rPr>
              <a:t> – бесплатное диагностическое мероприятие для 2-11 классов по математике и русскому языку.</a:t>
            </a: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393134" y="2856929"/>
            <a:ext cx="8275131" cy="152855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1800"/>
              </a:spcBef>
              <a:buClr>
                <a:schemeClr val="accent6"/>
              </a:buClr>
              <a:buNone/>
            </a:pPr>
            <a:r>
              <a:rPr lang="ru-RU" sz="2000" dirty="0">
                <a:latin typeface="Century Gothic" charset="0"/>
                <a:ea typeface="Century Gothic" charset="0"/>
                <a:cs typeface="Century Gothic" charset="0"/>
              </a:rPr>
              <a:t>Всероссийский многопредметный мониторинг 9 классов "</a:t>
            </a:r>
            <a:r>
              <a:rPr lang="ru-RU" sz="2000" b="1" dirty="0">
                <a:latin typeface="Century Gothic" charset="0"/>
                <a:ea typeface="Century Gothic" charset="0"/>
                <a:cs typeface="Century Gothic" charset="0"/>
              </a:rPr>
              <a:t>Горизонталь</a:t>
            </a:r>
            <a:r>
              <a:rPr lang="ru-RU" sz="2000" dirty="0">
                <a:latin typeface="Century Gothic" charset="0"/>
                <a:ea typeface="Century Gothic" charset="0"/>
                <a:cs typeface="Century Gothic" charset="0"/>
              </a:rPr>
              <a:t>" - это срез уровня </a:t>
            </a:r>
            <a:r>
              <a:rPr lang="ru-RU" sz="2000" dirty="0" err="1">
                <a:latin typeface="Century Gothic" charset="0"/>
                <a:ea typeface="Century Gothic" charset="0"/>
                <a:cs typeface="Century Gothic" charset="0"/>
              </a:rPr>
              <a:t>сформированности</a:t>
            </a:r>
            <a:r>
              <a:rPr lang="ru-RU" sz="200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ru-RU" sz="2000" dirty="0" err="1">
                <a:latin typeface="Century Gothic" charset="0"/>
                <a:ea typeface="Century Gothic" charset="0"/>
                <a:cs typeface="Century Gothic" charset="0"/>
              </a:rPr>
              <a:t>общеучебных</a:t>
            </a:r>
            <a:r>
              <a:rPr lang="ru-RU" sz="2000" dirty="0">
                <a:latin typeface="Century Gothic" charset="0"/>
                <a:ea typeface="Century Gothic" charset="0"/>
                <a:cs typeface="Century Gothic" charset="0"/>
              </a:rPr>
              <a:t> умений и навыков для школьников 9 классов по физике, химии, биологии, географии, истории, обществознанию и литературе</a:t>
            </a:r>
          </a:p>
        </p:txBody>
      </p:sp>
    </p:spTree>
    <p:extLst>
      <p:ext uri="{BB962C8B-B14F-4D97-AF65-F5344CB8AC3E}">
        <p14:creationId xmlns="" xmlns:p14="http://schemas.microsoft.com/office/powerpoint/2010/main" val="53098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Методическая служба по физике :</a:t>
            </a:r>
            <a:br>
              <a:rPr lang="ru-RU" dirty="0"/>
            </a:br>
            <a:endParaRPr lang="ru-RU" dirty="0"/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0" y="3886200"/>
            <a:ext cx="8892480" cy="1752600"/>
          </a:xfrm>
        </p:spPr>
        <p:txBody>
          <a:bodyPr>
            <a:normAutofit/>
          </a:bodyPr>
          <a:lstStyle/>
          <a:p>
            <a:pPr lvl="0"/>
            <a:r>
              <a:rPr lang="ru-RU" sz="2200" b="1" dirty="0" err="1"/>
              <a:t>Опаловский</a:t>
            </a:r>
            <a:r>
              <a:rPr lang="ru-RU" sz="2200" b="1" dirty="0"/>
              <a:t> Владимир Александрович      Пешкова Анна Вячеславовна</a:t>
            </a:r>
          </a:p>
          <a:p>
            <a:r>
              <a:rPr lang="en-US" b="1" u="sng" dirty="0">
                <a:solidFill>
                  <a:schemeClr val="bg2"/>
                </a:solidFill>
              </a:rPr>
              <a:t>Opalovskiy.VA@rosuchebnik.ru</a:t>
            </a:r>
            <a:r>
              <a:rPr lang="en-US" b="1" dirty="0">
                <a:solidFill>
                  <a:schemeClr val="bg2"/>
                </a:solidFill>
              </a:rPr>
              <a:t>              </a:t>
            </a:r>
            <a:r>
              <a:rPr lang="en-US" b="1" u="sng" dirty="0">
                <a:solidFill>
                  <a:schemeClr val="bg2"/>
                </a:solidFill>
              </a:rPr>
              <a:t>Peshkova.AV@rosuchebnik.ru</a:t>
            </a:r>
            <a:r>
              <a:rPr lang="en-US" dirty="0">
                <a:solidFill>
                  <a:schemeClr val="bg2"/>
                </a:solidFill>
              </a:rPr>
              <a:t> </a:t>
            </a:r>
          </a:p>
          <a:p>
            <a:pPr lvl="0"/>
            <a:endParaRPr lang="en-US" b="1" u="sng" dirty="0">
              <a:solidFill>
                <a:srgbClr val="ED1064"/>
              </a:solidFill>
            </a:endParaRPr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246A9C5-F2A8-4AED-B131-3B1F685643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EF5E9F01-F956-40B9-855B-7C06AF14D57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2926" t="9546" r="12495" b="6130"/>
          <a:stretch/>
        </p:blipFill>
        <p:spPr>
          <a:xfrm>
            <a:off x="0" y="34059"/>
            <a:ext cx="9144000" cy="605923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378882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F3F44D0-F982-4A49-AF3E-44835FAFFA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3630B83E-6EDA-446E-BE3B-22117B9555C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3921" t="9546" r="13489" b="6131"/>
          <a:stretch/>
        </p:blipFill>
        <p:spPr>
          <a:xfrm>
            <a:off x="-24108" y="-12588"/>
            <a:ext cx="9168108" cy="610588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52255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D0CFA1C-F137-416B-ADCD-B89E7DB0E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="" xmlns:a16="http://schemas.microsoft.com/office/drawing/2014/main" id="{8AA644B1-5C7E-44B5-A43E-0F989A89137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l="13208" t="10178" r="13208" b="11862"/>
          <a:stretch/>
        </p:blipFill>
        <p:spPr>
          <a:xfrm>
            <a:off x="0" y="0"/>
            <a:ext cx="9144000" cy="602128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628728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Тема Office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Шаблон презентации РУ 4х3" id="{7C9DC303-742F-9041-ABA3-286BD215772F}" vid="{6298532F-199B-D144-8CF4-66E44EE92E0C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02</TotalTime>
  <Words>693</Words>
  <Application>Microsoft Office PowerPoint</Application>
  <PresentationFormat>Экран (4:3)</PresentationFormat>
  <Paragraphs>94</Paragraphs>
  <Slides>62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2</vt:i4>
      </vt:variant>
    </vt:vector>
  </HeadingPairs>
  <TitlesOfParts>
    <vt:vector size="64" baseType="lpstr">
      <vt:lpstr>Тема Office</vt:lpstr>
      <vt:lpstr>Формула</vt:lpstr>
      <vt:lpstr>Организация проектной и учебно- исследовательской деятельности  по физике</vt:lpstr>
      <vt:lpstr>Преимущества деятельностного подхода</vt:lpstr>
      <vt:lpstr>Виды деятельности</vt:lpstr>
      <vt:lpstr>Определяем понятия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Оборудование</vt:lpstr>
      <vt:lpstr>Слайд 31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  <vt:lpstr>Примеры экспериментов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  <vt:lpstr>Слайд 48</vt:lpstr>
      <vt:lpstr>Слайд 49</vt:lpstr>
      <vt:lpstr>Открытие законов</vt:lpstr>
      <vt:lpstr>Открываем закон Ома</vt:lpstr>
      <vt:lpstr>Интернет-материалы</vt:lpstr>
      <vt:lpstr>Пример получения закона</vt:lpstr>
      <vt:lpstr>Пример получения закона</vt:lpstr>
      <vt:lpstr>Пример получения закона</vt:lpstr>
      <vt:lpstr>Проводим эксперимент</vt:lpstr>
      <vt:lpstr>Виды деятельности  при обработке экспериментальных данных:</vt:lpstr>
      <vt:lpstr>Определение максимальной абсолютной погрешности</vt:lpstr>
      <vt:lpstr>Построение графика</vt:lpstr>
      <vt:lpstr>Слайд 60</vt:lpstr>
      <vt:lpstr>Школа Знаника</vt:lpstr>
      <vt:lpstr>Методическая служба по физике : </vt:lpstr>
    </vt:vector>
  </TitlesOfParts>
  <Company>Drofa LTD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итульный слайд</dc:title>
  <dc:creator>З.</dc:creator>
  <cp:lastModifiedBy>Marina</cp:lastModifiedBy>
  <cp:revision>266</cp:revision>
  <dcterms:created xsi:type="dcterms:W3CDTF">2017-05-24T14:24:06Z</dcterms:created>
  <dcterms:modified xsi:type="dcterms:W3CDTF">2019-09-27T08:50:58Z</dcterms:modified>
</cp:coreProperties>
</file>